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399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00000"/>
    <a:srgbClr val="444444"/>
    <a:srgbClr val="F6F6F6"/>
    <a:srgbClr val="E5E5E5"/>
    <a:srgbClr val="BDBDBD"/>
    <a:srgbClr val="727272"/>
    <a:srgbClr val="D9D9D9"/>
    <a:srgbClr val="EB0000"/>
    <a:srgbClr val="C60018"/>
    <a:srgbClr val="A200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13:12:07.288" v="7" actId="27918"/>
      <pc:docMkLst>
        <pc:docMk/>
      </pc:docMkLst>
      <pc:sldChg chg="modSp mod">
        <pc:chgData name="Weigel Stefan (PAR-EPS)" userId="fd3b2067-2981-4ad8-bf3a-d2e1004e4fa8" providerId="ADAL" clId="{A4CFA2F4-FF8D-446B-B271-6DF568DBEADA}" dt="2026-02-12T13:12:07.288" v="7" actId="27918"/>
        <pc:sldMkLst>
          <pc:docMk/>
          <pc:sldMk cId="2338066774" sldId="399"/>
        </pc:sldMkLst>
        <pc:spChg chg="mod">
          <ac:chgData name="Weigel Stefan (PAR-EPS)" userId="fd3b2067-2981-4ad8-bf3a-d2e1004e4fa8" providerId="ADAL" clId="{A4CFA2F4-FF8D-446B-B271-6DF568DBEADA}" dt="2026-01-14T13:01:22.401" v="1" actId="20577"/>
          <ac:spMkLst>
            <pc:docMk/>
            <pc:sldMk cId="2338066774" sldId="399"/>
            <ac:spMk id="2" creationId="{00000000-0000-0000-0000-00000000000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495011838962335"/>
          <c:y val="0.10745262598812517"/>
          <c:w val="0.70347277391447394"/>
          <c:h val="0.7994640434541477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C$19</c:f>
              <c:strCache>
                <c:ptCount val="1"/>
                <c:pt idx="0">
                  <c:v>Men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CC5-4387-A227-3B5CA15071DA}"/>
              </c:ext>
            </c:extLst>
          </c:dPt>
          <c:cat>
            <c:strRef>
              <c:f>data!$B$20:$B$29</c:f>
              <c:strCache>
                <c:ptCount val="10"/>
                <c:pt idx="0">
                  <c:v>less than 5 years</c:v>
                </c:pt>
                <c:pt idx="1">
                  <c:v>between 5 and 9 years</c:v>
                </c:pt>
                <c:pt idx="2">
                  <c:v>between 10 and 14 years</c:v>
                </c:pt>
                <c:pt idx="3">
                  <c:v>between 15 and 19 years</c:v>
                </c:pt>
                <c:pt idx="4">
                  <c:v>between 20 and 24 years</c:v>
                </c:pt>
                <c:pt idx="5">
                  <c:v>between 25 and 29 years</c:v>
                </c:pt>
                <c:pt idx="6">
                  <c:v>between 30 and 34 years</c:v>
                </c:pt>
                <c:pt idx="7">
                  <c:v>between 35 and 39 years</c:v>
                </c:pt>
                <c:pt idx="8">
                  <c:v>between 40 and 44 years</c:v>
                </c:pt>
                <c:pt idx="9">
                  <c:v>45 years and more</c:v>
                </c:pt>
              </c:strCache>
            </c:strRef>
          </c:cat>
          <c:val>
            <c:numRef>
              <c:f>data!$C$20:$C$29</c:f>
              <c:numCache>
                <c:formatCode>#,##0</c:formatCode>
                <c:ptCount val="10"/>
                <c:pt idx="0">
                  <c:v>-8298</c:v>
                </c:pt>
                <c:pt idx="1">
                  <c:v>-4606</c:v>
                </c:pt>
                <c:pt idx="2">
                  <c:v>-3554</c:v>
                </c:pt>
                <c:pt idx="3">
                  <c:v>-2025</c:v>
                </c:pt>
                <c:pt idx="4">
                  <c:v>-1592</c:v>
                </c:pt>
                <c:pt idx="5">
                  <c:v>-453</c:v>
                </c:pt>
                <c:pt idx="6">
                  <c:v>-1241</c:v>
                </c:pt>
                <c:pt idx="7">
                  <c:v>-2420</c:v>
                </c:pt>
                <c:pt idx="8">
                  <c:v>-1155</c:v>
                </c:pt>
                <c:pt idx="9">
                  <c:v>-4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CC5-4387-A227-3B5CA15071DA}"/>
            </c:ext>
          </c:extLst>
        </c:ser>
        <c:ser>
          <c:idx val="1"/>
          <c:order val="1"/>
          <c:tx>
            <c:strRef>
              <c:f>data!$D$19</c:f>
              <c:strCache>
                <c:ptCount val="1"/>
                <c:pt idx="0">
                  <c:v>Women</c:v>
                </c:pt>
              </c:strCache>
            </c:strRef>
          </c:tx>
          <c:spPr>
            <a:solidFill>
              <a:srgbClr val="B00000"/>
            </a:solidFill>
            <a:ln>
              <a:noFill/>
            </a:ln>
          </c:spPr>
          <c:invertIfNegative val="0"/>
          <c:cat>
            <c:strRef>
              <c:f>data!$B$20:$B$29</c:f>
              <c:strCache>
                <c:ptCount val="10"/>
                <c:pt idx="0">
                  <c:v>less than 5 years</c:v>
                </c:pt>
                <c:pt idx="1">
                  <c:v>between 5 and 9 years</c:v>
                </c:pt>
                <c:pt idx="2">
                  <c:v>between 10 and 14 years</c:v>
                </c:pt>
                <c:pt idx="3">
                  <c:v>between 15 and 19 years</c:v>
                </c:pt>
                <c:pt idx="4">
                  <c:v>between 20 and 24 years</c:v>
                </c:pt>
                <c:pt idx="5">
                  <c:v>between 25 and 29 years</c:v>
                </c:pt>
                <c:pt idx="6">
                  <c:v>between 30 and 34 years</c:v>
                </c:pt>
                <c:pt idx="7">
                  <c:v>between 35 and 39 years</c:v>
                </c:pt>
                <c:pt idx="8">
                  <c:v>between 40 and 44 years</c:v>
                </c:pt>
                <c:pt idx="9">
                  <c:v>45 years and more</c:v>
                </c:pt>
              </c:strCache>
            </c:strRef>
          </c:cat>
          <c:val>
            <c:numRef>
              <c:f>data!$D$20:$D$29</c:f>
              <c:numCache>
                <c:formatCode>#,##0</c:formatCode>
                <c:ptCount val="10"/>
                <c:pt idx="0">
                  <c:v>2728</c:v>
                </c:pt>
                <c:pt idx="1">
                  <c:v>1380</c:v>
                </c:pt>
                <c:pt idx="2">
                  <c:v>961</c:v>
                </c:pt>
                <c:pt idx="3">
                  <c:v>527</c:v>
                </c:pt>
                <c:pt idx="4">
                  <c:v>378</c:v>
                </c:pt>
                <c:pt idx="5">
                  <c:v>103</c:v>
                </c:pt>
                <c:pt idx="6">
                  <c:v>263</c:v>
                </c:pt>
                <c:pt idx="7">
                  <c:v>335</c:v>
                </c:pt>
                <c:pt idx="8">
                  <c:v>74</c:v>
                </c:pt>
                <c:pt idx="9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CC5-4387-A227-3B5CA15071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125733120"/>
        <c:axId val="125422208"/>
      </c:barChart>
      <c:valAx>
        <c:axId val="125422208"/>
        <c:scaling>
          <c:orientation val="minMax"/>
          <c:max val="3000"/>
          <c:min val="-900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0;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1"/>
                </a:solidFill>
              </a:defRPr>
            </a:pPr>
            <a:endParaRPr lang="de-DE"/>
          </a:p>
        </c:txPr>
        <c:crossAx val="125733120"/>
        <c:crossesAt val="1"/>
        <c:crossBetween val="between"/>
        <c:majorUnit val="1500"/>
      </c:valAx>
      <c:catAx>
        <c:axId val="125733120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high"/>
        <c:spPr>
          <a:ln>
            <a:solidFill>
              <a:schemeClr val="tx2"/>
            </a:solidFill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25422208"/>
        <c:crosses val="max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8031</cdr:x>
      <cdr:y>0.03681</cdr:y>
    </cdr:from>
    <cdr:to>
      <cdr:x>0.61675</cdr:x>
      <cdr:y>0.08918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5803599" y="164669"/>
          <a:ext cx="364429" cy="2342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050" dirty="0"/>
            <a:t>Men </a:t>
          </a:r>
          <a:endParaRPr lang="de-CH" sz="1050" dirty="0"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65619</cdr:x>
      <cdr:y>0.03681</cdr:y>
    </cdr:from>
    <cdr:to>
      <cdr:x>0.71235</cdr:x>
      <cdr:y>0.08918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6562438" y="164669"/>
          <a:ext cx="561644" cy="2342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050" dirty="0"/>
            <a:t>Women </a:t>
          </a:r>
          <a:endParaRPr lang="de-CH" sz="105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63235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en-US" dirty="0"/>
              <a:t>Employees by years of service in 2025.</a:t>
            </a:r>
            <a:endParaRPr lang="de-CH" sz="1400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01331" y="6092825"/>
            <a:ext cx="1727767" cy="170649"/>
          </a:xfrm>
        </p:spPr>
        <p:txBody>
          <a:bodyPr/>
          <a:lstStyle/>
          <a:p>
            <a:pPr algn="r"/>
            <a:r>
              <a:rPr lang="de-CH" sz="1100" kern="0" spc="0" dirty="0">
                <a:solidFill>
                  <a:srgbClr val="444444"/>
                </a:solidFill>
                <a:latin typeface="+mj-lt"/>
              </a:rPr>
              <a:t>reporting.sbb.ch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84F82B92-ACCD-41AC-8B9B-F49F946956E6}"/>
              </a:ext>
            </a:extLst>
          </p:cNvPr>
          <p:cNvSpPr txBox="1"/>
          <p:nvPr/>
        </p:nvSpPr>
        <p:spPr>
          <a:xfrm>
            <a:off x="1487487" y="6092825"/>
            <a:ext cx="6459309" cy="578428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US" sz="1100" dirty="0">
                <a:solidFill>
                  <a:srgbClr val="444444"/>
                </a:solidFill>
                <a:latin typeface="+mj-lt"/>
                <a:cs typeface="Arial" pitchFamily="34" charset="0"/>
              </a:rPr>
              <a:t>Employees at end of year. SBB AG und SBB Cargo Ltd (Switzerland).</a:t>
            </a:r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67E5BF1A-DCFF-4431-8721-9C385B8E6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51881067"/>
              </p:ext>
            </p:extLst>
          </p:nvPr>
        </p:nvGraphicFramePr>
        <p:xfrm>
          <a:off x="703716" y="1402252"/>
          <a:ext cx="10000795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3380667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034EAFB-0DF6-4EAE-A81C-FFE9A645836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schemas.microsoft.com/office/2006/metadata/properties"/>
    <ds:schemaRef ds:uri="http://purl.org/dc/terms/"/>
    <ds:schemaRef ds:uri="96e82a89-ba48-4728-b345-cf206dbec8f1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2f5c8543-cf23-4718-a3b8-32b0a91d511a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4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Employees by years of service in 2025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mployees by years of service in 2023.</dc:title>
  <dc:creator>Meyer Raphael (KOM-PGA-VSF)</dc:creator>
  <cp:lastModifiedBy>Weigel Stefan (PAR-EPS)</cp:lastModifiedBy>
  <cp:revision>55</cp:revision>
  <dcterms:created xsi:type="dcterms:W3CDTF">2020-09-30T11:00:09Z</dcterms:created>
  <dcterms:modified xsi:type="dcterms:W3CDTF">2026-03-03T13:22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